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5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9" r:id="rId6"/>
    <p:sldId id="261" r:id="rId7"/>
    <p:sldId id="266" r:id="rId8"/>
    <p:sldId id="267" r:id="rId9"/>
    <p:sldId id="262" r:id="rId10"/>
    <p:sldId id="268" r:id="rId11"/>
    <p:sldId id="263" r:id="rId12"/>
    <p:sldId id="264" r:id="rId13"/>
    <p:sldId id="265" r:id="rId14"/>
    <p:sldId id="269" r:id="rId15"/>
    <p:sldId id="25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ica Diamond (Siegel+Gale New York)" initials="JD(NY" lastIdx="12" clrIdx="0">
    <p:extLst>
      <p:ext uri="{19B8F6BF-5375-455C-9EA6-DF929625EA0E}">
        <p15:presenceInfo xmlns:p15="http://schemas.microsoft.com/office/powerpoint/2012/main" userId="S::jdiamond@siegelgale.com::62e71dd7-5b60-494b-af04-b2371e22b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454"/>
    <a:srgbClr val="FF9300"/>
    <a:srgbClr val="C00000"/>
    <a:srgbClr val="E6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C099FF-8757-9D4C-805D-68AF2A6E07E3}" v="132" dt="2025-04-27T19:57:52.720"/>
  </p1510:revLst>
</p1510:revInfo>
</file>

<file path=ppt/tableStyles.xml><?xml version="1.0" encoding="utf-8"?>
<a:tblStyleLst xmlns:a="http://schemas.openxmlformats.org/drawingml/2006/main" def="{28BBFDBB-E172-454A-9ACE-7550A9B51D52}">
  <a:tblStyle styleId="{28BBFDBB-E172-454A-9ACE-7550A9B51D52}" styleName="BMS Table 1"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EEE7E7"/>
          </a:solidFill>
        </a:fill>
      </a:tcStyle>
    </a:band2H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/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AC5C5"/>
          </a:solidFill>
        </a:fill>
      </a:tcStyle>
    </a:firstRow>
  </a:tblStyle>
  <a:tblStyle styleId="{B9994FC0-9B6E-44D0-999B-C11AFF47B281}" styleName="BMS Table 2">
    <a:wholeTbl>
      <a:tcTxStyle>
        <a:fontRef idx="minor"/>
        <a:schemeClr val="tx1"/>
      </a:tcTxStyle>
      <a:tcStyle>
        <a:tcBdr>
          <a:left>
            <a:ln w="6350">
              <a:solidFill>
                <a:schemeClr val="tx1"/>
              </a:solidFill>
            </a:ln>
          </a:left>
          <a:right>
            <a:ln w="6350">
              <a:solidFill>
                <a:schemeClr val="tx1"/>
              </a:solidFill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 w="6350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</a:tcBdr>
      </a:tcStyle>
    </a:band1H>
    <a:band2H>
      <a:tcStyle>
        <a:tcBdr>
          <a:top>
            <a:ln>
              <a:noFill/>
            </a:ln>
          </a:top>
        </a:tcBdr>
        <a:fill>
          <a:solidFill>
            <a:srgbClr val="EEE7E7"/>
          </a:solidFill>
        </a:fill>
      </a:tcStyle>
    </a:band2H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top>
            <a:ln w="6350">
              <a:solidFill>
                <a:schemeClr val="tx1"/>
              </a:solidFill>
            </a:ln>
          </a:top>
          <a:bottom>
            <a:ln>
              <a:noFill/>
            </a:ln>
          </a:bottom>
        </a:tcBdr>
        <a:fill>
          <a:solidFill>
            <a:srgbClr val="DAC5C5"/>
          </a:solidFill>
        </a:fill>
      </a:tcStyle>
    </a:firstRow>
  </a:tblStyle>
  <a:tblStyle styleId="{889B7B81-3957-4A0F-9DFE-1E8E37215127}" styleName="BMS Table 3">
    <a:wholeTbl>
      <a:tcTxStyle>
        <a:fontRef idx="minor"/>
        <a:schemeClr val="tx1"/>
      </a:tcTxStyle>
      <a:tcStyle>
        <a:tcBdr>
          <a:left>
            <a:ln w="6350">
              <a:solidFill>
                <a:schemeClr val="tx1"/>
              </a:solidFill>
            </a:ln>
          </a:left>
          <a:right>
            <a:ln w="6350">
              <a:solidFill>
                <a:schemeClr val="tx1"/>
              </a:solidFill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 w="6350">
              <a:solidFill>
                <a:schemeClr val="tx1"/>
              </a:solidFill>
            </a:ln>
          </a:insideV>
        </a:tcBdr>
        <a:fill>
          <a:noFill/>
        </a:fill>
      </a:tcStyle>
    </a:wholeTbl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top>
            <a:ln w="6350">
              <a:solidFill>
                <a:schemeClr val="tx1"/>
              </a:solidFill>
            </a:ln>
          </a:top>
          <a:bottom>
            <a:ln>
              <a:noFill/>
            </a:ln>
          </a:bottom>
        </a:tcBdr>
        <a:fill>
          <a:solidFill>
            <a:srgbClr val="EEE7E7"/>
          </a:solidFill>
        </a:fill>
      </a:tcStyle>
    </a:firstRow>
  </a:tblStyle>
  <a:tblStyle styleId="{31731B84-2FA6-499F-865B-335CF6031996}" styleName="BMS Table 4">
    <a:wholeTbl>
      <a:tcTxStyle>
        <a:fontRef idx="minor"/>
        <a:schemeClr val="tx1"/>
      </a:tcTxStyle>
      <a:tcStyle>
        <a:tcBdr>
          <a:left>
            <a:ln w="6350">
              <a:solidFill>
                <a:schemeClr val="tx1"/>
              </a:solidFill>
            </a:ln>
          </a:left>
          <a:right>
            <a:ln w="6350">
              <a:solidFill>
                <a:schemeClr val="tx1"/>
              </a:solidFill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 w="6350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</a:tcBdr>
        <a:fill>
          <a:solidFill>
            <a:srgbClr val="EEE7E7"/>
          </a:solidFill>
        </a:fill>
      </a:tcStyle>
    </a:band1H>
    <a:band2H>
      <a:tcStyle>
        <a:tcBdr>
          <a:top>
            <a:ln>
              <a:noFill/>
            </a:ln>
          </a:top>
        </a:tcBdr>
      </a:tcStyle>
    </a:band2H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</a:tcBdr>
      </a:tcStyle>
    </a:lastRow>
    <a:firstRow>
      <a:tcTxStyle b="on">
        <a:srgbClr val="BE2BBB"/>
      </a:tcTxStyle>
      <a:tcStyle>
        <a:tcBdr/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56" autoAdjust="0"/>
    <p:restoredTop sz="93420"/>
  </p:normalViewPr>
  <p:slideViewPr>
    <p:cSldViewPr snapToGrid="0" showGuides="1">
      <p:cViewPr varScale="1">
        <p:scale>
          <a:sx n="90" d="100"/>
          <a:sy n="90" d="100"/>
        </p:scale>
        <p:origin x="821" y="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-35216"/>
    </p:cViewPr>
  </p:sorterViewPr>
  <p:notesViewPr>
    <p:cSldViewPr snapToGrid="0" showGuides="1">
      <p:cViewPr varScale="1">
        <p:scale>
          <a:sx n="166" d="100"/>
          <a:sy n="166" d="100"/>
        </p:scale>
        <p:origin x="5464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E6B232A-A90B-0843-9FE3-CD41AEF1F4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6EF4F6-6352-EF49-8B94-F88281AD3C0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A1003-23F1-F848-ABD7-AA279ACD1B1C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F22398-7E15-714C-85A0-DACC6DC3F11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1B2665-97EF-CE47-ABE4-18D4D76C98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AB60F0-68D7-274B-9B3A-8BD634CF5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41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F6C0D1-008B-C245-AF1E-F6ADA8BEAF3C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CB8535-DC0F-AF47-A510-8461A80C06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81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880" indent="-182880" algn="l" defTabSz="914400" rtl="0" eaLnBrk="1" latinLnBrk="0" hangingPunct="1">
      <a:spcBef>
        <a:spcPts val="600"/>
      </a:spcBef>
      <a:buFont typeface="Trebuchet MS" panose="020B0603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576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864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3152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91440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109728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128016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46304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64592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Hi, I’m [Your Name], and today I’m presenting my final project for CSCA 5622: Bank Customer Churn Prediction using supervised learning. Let’s dive into the problem, approach, and resul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1443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Customer churn is a major issue for banks, costing millions annually. My project predicts churn using a Kaggle dataset with 10002 samples. The dataset has a class imbalance—only 20% of customers churn—and minor missing values, which we’ll addres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44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First, I preprocessed the data. I handled missing values by imputing Geography with ‘missing’ and numeric features with medians. To address the class imbalance, I used SMOTE to balance the training data. I also applied one-hot encoding for categorical features and scaled numeric features. This plot shows how Geography impacts churn, with Germany having a higher ra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84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I trained four models: Logistic Regression as a baseline, Random Forest with hyperparameter tuning, a Neural Network using GPU, and </a:t>
            </a:r>
            <a:r>
              <a:rPr lang="en-US" dirty="0" err="1"/>
              <a:t>CatBoost</a:t>
            </a:r>
            <a:r>
              <a:rPr lang="en-US" dirty="0"/>
              <a:t>, also with GPU, for its strength with categorical data. I used SMOTE for imbalance, GPU acceleration for efficiency, and dropout to reduce overfitting in the Neural Network. This Random Forest feature importance plot shows Age and </a:t>
            </a:r>
            <a:r>
              <a:rPr lang="en-US" dirty="0" err="1"/>
              <a:t>NumOfProducts</a:t>
            </a:r>
            <a:r>
              <a:rPr lang="en-US" dirty="0"/>
              <a:t> as key predictor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667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Here are the results: </a:t>
            </a:r>
            <a:r>
              <a:rPr lang="en-US" dirty="0" err="1"/>
              <a:t>CatBoost</a:t>
            </a:r>
            <a:r>
              <a:rPr lang="en-US" dirty="0"/>
              <a:t> achieved the highest ROC-AUC of 0.87 and an F1-score of 0.62, followed closely by Random Forest and Neural Network at 0.86. Logistic Regression lagged at 0.77. This ROC curve comparison shows </a:t>
            </a:r>
            <a:r>
              <a:rPr lang="en-US" dirty="0" err="1"/>
              <a:t>CatBoost’s</a:t>
            </a:r>
            <a:r>
              <a:rPr lang="en-US" dirty="0"/>
              <a:t> superior performance, making it the best model for this tas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59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Using SHAP with </a:t>
            </a:r>
            <a:r>
              <a:rPr lang="en-US" dirty="0" err="1"/>
              <a:t>CatBoost</a:t>
            </a:r>
            <a:r>
              <a:rPr lang="en-US" dirty="0"/>
              <a:t>, I identified key churn drivers: Age, </a:t>
            </a:r>
            <a:r>
              <a:rPr lang="en-US" dirty="0" err="1"/>
              <a:t>NumOfProducts</a:t>
            </a:r>
            <a:r>
              <a:rPr lang="en-US" dirty="0"/>
              <a:t>, Tenure, and Geography, particularly Germany. This plot shows older customers in Germany with fewer products are at higher risk, providing actionable insights for banks to target retention effor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00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827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Thi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CD751A6-DDDE-8DE0-274F-CBA5367BD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03251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751A6-DDDE-8DE0-274F-CBA5367BD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vert="horz" anchor="t" anchorCtr="0"/>
          <a:lstStyle>
            <a:lvl1pPr algn="l">
              <a:defRPr sz="6000" b="0" spc="0" baseline="0"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cxnSp>
        <p:nvCxnSpPr>
          <p:cNvPr id="31" name="Line">
            <a:extLst>
              <a:ext uri="{FF2B5EF4-FFF2-40B4-BE49-F238E27FC236}">
                <a16:creationId xmlns:a16="http://schemas.microsoft.com/office/drawing/2014/main" id="{136FFFC6-0346-AF4B-964F-D99A996951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25400" cap="rnd">
            <a:solidFill>
              <a:srgbClr val="5954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0778F7FB-D891-669F-B19B-2D4F52060F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5757" y="6446520"/>
            <a:ext cx="1584357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44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  <p15:guide id="2" pos="5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A5897E-0A8E-D741-8E6E-5EAC5B100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FDC437D-ADA4-C54E-A6E7-9FD212DFA0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89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B7FADF4-2D3F-244E-8ACB-071917F98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50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63BDD-ED71-A641-8DF3-070230DDF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16" y="362524"/>
            <a:ext cx="4413409" cy="907856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85D02-7D6B-6B49-9328-20CC68731F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54481"/>
            <a:ext cx="6643052" cy="462248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17F70-1ED9-DA45-9135-6086616BBF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65760" y="1554481"/>
            <a:ext cx="4406265" cy="462248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1F554D1-2770-A440-ADA7-A3CFF260D6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66506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63BDD-ED71-A641-8DF3-070230DDF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16" y="362524"/>
            <a:ext cx="4413409" cy="907856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17F70-1ED9-DA45-9135-6086616BBF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65760" y="1554481"/>
            <a:ext cx="4406265" cy="462248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1F554D1-2770-A440-ADA7-A3CFF260D6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A44B79F1-DB77-4E46-83DB-3FC17C68CD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554480"/>
            <a:ext cx="6643052" cy="462248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1604092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E64DB-D14A-2D4E-BC9B-0FA604F1E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4C3E60-2B1B-2043-8D32-058982682B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5760" y="1554479"/>
            <a:ext cx="11460480" cy="462248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E957BE4E-B52D-7249-825E-61F7E79845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64966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DF973-DE1A-8A49-8991-DFB10C299A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843388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F45D00-30F1-314E-9796-6A3ED52272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2015" y="365125"/>
            <a:ext cx="821048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A978DBF-7368-EC4A-99F1-06790811C9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612046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8524240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C7A8D46-DE44-2444-BB06-DA24BD3AC7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829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0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8" y="1554479"/>
            <a:ext cx="5577840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554479"/>
            <a:ext cx="5577840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EE08FE6-5257-DA43-B956-3898F80ECE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90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 userDrawn="1">
          <p15:clr>
            <a:srgbClr val="FBAE40"/>
          </p15:clr>
        </p15:guide>
        <p15:guide id="2" pos="393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903699-153C-AD47-95F6-16E2B3016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79"/>
            <a:ext cx="3618992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6504" y="1554479"/>
            <a:ext cx="7539736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A33A14AA-8D0B-AC40-9955-37FC1367F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31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0" userDrawn="1">
          <p15:clr>
            <a:srgbClr val="FBAE40"/>
          </p15:clr>
        </p15:guide>
        <p15:guide id="2" pos="251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62248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8AD9C53-ADE9-0247-97C6-7B5DC9F8BF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24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EBBD18-A65C-E64A-BB32-C2EB4A9BEE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125" y="1554479"/>
            <a:ext cx="7543799" cy="256032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A40BC2-A6D3-3A47-8FB2-1E237638D1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4343400"/>
            <a:ext cx="7543799" cy="128016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1EE4FAC-8F8D-BD46-B957-80222E314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chemeClr val="tx2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07960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62248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>
                <a:solidFill>
                  <a:srgbClr val="595454"/>
                </a:solidFill>
              </a:defRPr>
            </a:lvl2pPr>
            <a:lvl3pPr marL="457200">
              <a:defRPr>
                <a:solidFill>
                  <a:srgbClr val="595454"/>
                </a:solidFill>
              </a:defRPr>
            </a:lvl3pPr>
            <a:lvl4pPr marL="685800">
              <a:defRPr>
                <a:solidFill>
                  <a:srgbClr val="595454"/>
                </a:solidFill>
              </a:defRPr>
            </a:lvl4pPr>
            <a:lvl5pPr marL="914400">
              <a:defRPr>
                <a:solidFill>
                  <a:srgbClr val="595454"/>
                </a:solidFill>
              </a:defRPr>
            </a:lvl5pPr>
            <a:lvl6pPr marL="1143000">
              <a:defRPr>
                <a:solidFill>
                  <a:srgbClr val="595454"/>
                </a:solidFill>
              </a:defRPr>
            </a:lvl6pPr>
            <a:lvl7pPr marL="1371600">
              <a:defRPr>
                <a:solidFill>
                  <a:srgbClr val="595454"/>
                </a:solidFill>
              </a:defRPr>
            </a:lvl7pPr>
            <a:lvl8pPr marL="1600200">
              <a:defRPr>
                <a:solidFill>
                  <a:srgbClr val="595454"/>
                </a:solidFill>
              </a:defRPr>
            </a:lvl8pPr>
            <a:lvl9pPr marL="1828800">
              <a:defRPr>
                <a:solidFill>
                  <a:srgbClr val="595454"/>
                </a:solidFill>
              </a:defRPr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7E5A855-740B-9D45-BA93-765543BA69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31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FE78D03-2042-AB5C-13C1-948FAF7692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7196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E78D03-2042-AB5C-13C1-948FAF769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Optional slide title]</a:t>
            </a:r>
          </a:p>
        </p:txBody>
      </p:sp>
      <p:sp>
        <p:nvSpPr>
          <p:cNvPr id="4" name="Quote">
            <a:extLst>
              <a:ext uri="{FF2B5EF4-FFF2-40B4-BE49-F238E27FC236}">
                <a16:creationId xmlns:a16="http://schemas.microsoft.com/office/drawing/2014/main" id="{398E39FE-76DD-EB47-9601-048CD5D34A50}"/>
              </a:ext>
            </a:extLst>
          </p:cNvPr>
          <p:cNvSpPr txBox="1"/>
          <p:nvPr userDrawn="1"/>
        </p:nvSpPr>
        <p:spPr>
          <a:xfrm>
            <a:off x="365761" y="1554479"/>
            <a:ext cx="457200" cy="3429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SzPct val="100000"/>
              <a:buFont typeface="Trebuchet MS"/>
              <a:buNone/>
            </a:pPr>
            <a:r>
              <a:rPr lang="en-US" sz="6000" b="0" dirty="0">
                <a:solidFill>
                  <a:srgbClr val="595454"/>
                </a:solidFill>
              </a:rPr>
              <a:t>“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2960" y="1554479"/>
            <a:ext cx="8524240" cy="3429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0" indent="0">
              <a:spcBef>
                <a:spcPts val="1200"/>
              </a:spcBef>
              <a:buNone/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quote.”]</a:t>
            </a:r>
          </a:p>
        </p:txBody>
      </p:sp>
      <p:cxnSp>
        <p:nvCxnSpPr>
          <p:cNvPr id="9" name="Line">
            <a:extLst>
              <a:ext uri="{FF2B5EF4-FFF2-40B4-BE49-F238E27FC236}">
                <a16:creationId xmlns:a16="http://schemas.microsoft.com/office/drawing/2014/main" id="{8DA9817E-4A6F-8D45-83CB-AAE17B768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22960" y="5215942"/>
            <a:ext cx="2642616" cy="0"/>
          </a:xfrm>
          <a:prstGeom prst="line">
            <a:avLst/>
          </a:prstGeom>
          <a:ln w="28575" cap="rnd">
            <a:solidFill>
              <a:srgbClr val="595454"/>
            </a:solidFill>
          </a:ln>
        </p:spPr>
        <p:style>
          <a:lnRef idx="1">
            <a:srgbClr val="BE2BBB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C350BF-B5C5-E44E-8003-E797842CDA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2961" y="5303519"/>
            <a:ext cx="2642616" cy="87342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59545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7C5E918-88C6-6547-9CAB-45885F8CDB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97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888" userDrawn="1">
          <p15:clr>
            <a:srgbClr val="FBAE40"/>
          </p15:clr>
        </p15:guide>
        <p15:guide id="3" pos="51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Quote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D2E70D-DA06-3DB3-BB57-3D50FF8F1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168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D2E70D-DA06-3DB3-BB57-3D50FF8F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Optional slide title]</a:t>
            </a:r>
          </a:p>
        </p:txBody>
      </p:sp>
      <p:sp>
        <p:nvSpPr>
          <p:cNvPr id="4" name="Quote">
            <a:extLst>
              <a:ext uri="{FF2B5EF4-FFF2-40B4-BE49-F238E27FC236}">
                <a16:creationId xmlns:a16="http://schemas.microsoft.com/office/drawing/2014/main" id="{398E39FE-76DD-EB47-9601-048CD5D34A50}"/>
              </a:ext>
            </a:extLst>
          </p:cNvPr>
          <p:cNvSpPr txBox="1"/>
          <p:nvPr userDrawn="1"/>
        </p:nvSpPr>
        <p:spPr>
          <a:xfrm>
            <a:off x="365761" y="1554479"/>
            <a:ext cx="457200" cy="3429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SzPct val="100000"/>
              <a:buFont typeface="Trebuchet MS"/>
              <a:buNone/>
            </a:pPr>
            <a:r>
              <a:rPr lang="en-US" sz="6000" b="0" dirty="0">
                <a:solidFill>
                  <a:srgbClr val="595454"/>
                </a:solidFill>
              </a:rPr>
              <a:t>“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2960" y="1554479"/>
            <a:ext cx="8524240" cy="3429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quote.”]</a:t>
            </a:r>
          </a:p>
        </p:txBody>
      </p:sp>
      <p:cxnSp>
        <p:nvCxnSpPr>
          <p:cNvPr id="9" name="Line">
            <a:extLst>
              <a:ext uri="{FF2B5EF4-FFF2-40B4-BE49-F238E27FC236}">
                <a16:creationId xmlns:a16="http://schemas.microsoft.com/office/drawing/2014/main" id="{8DA9817E-4A6F-8D45-83CB-AAE17B768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22960" y="5215942"/>
            <a:ext cx="2642616" cy="0"/>
          </a:xfrm>
          <a:prstGeom prst="line">
            <a:avLst/>
          </a:prstGeom>
          <a:ln w="28575" cap="rnd">
            <a:solidFill>
              <a:srgbClr val="595454"/>
            </a:solidFill>
          </a:ln>
        </p:spPr>
        <p:style>
          <a:lnRef idx="1">
            <a:srgbClr val="BE2BBB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C350BF-B5C5-E44E-8003-E797842CDA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2961" y="5303519"/>
            <a:ext cx="2642616" cy="873443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59545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1676F7C-08DC-7641-8BAB-A54129906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11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1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343014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4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  <a:lvl2pPr>
              <a:defRPr>
                <a:solidFill>
                  <a:srgbClr val="595454"/>
                </a:solidFill>
              </a:defRPr>
            </a:lvl2pPr>
            <a:lvl3pPr>
              <a:defRPr>
                <a:solidFill>
                  <a:srgbClr val="595454"/>
                </a:solidFill>
              </a:defRPr>
            </a:lvl3pPr>
            <a:lvl4pPr>
              <a:defRPr>
                <a:solidFill>
                  <a:srgbClr val="595454"/>
                </a:solidFill>
              </a:defRPr>
            </a:lvl4pPr>
            <a:lvl5pPr>
              <a:defRPr>
                <a:solidFill>
                  <a:srgbClr val="5954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32E0263C-AF75-9144-8035-823727C182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18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340F80-EDD9-EE08-E5B9-38D2D629D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0801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340F80-EDD9-EE08-E5B9-38D2D629D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3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  <a:lvl2pPr>
              <a:defRPr>
                <a:solidFill>
                  <a:srgbClr val="595454"/>
                </a:solidFill>
              </a:defRPr>
            </a:lvl2pPr>
            <a:lvl3pPr>
              <a:defRPr>
                <a:solidFill>
                  <a:srgbClr val="595454"/>
                </a:solidFill>
              </a:defRPr>
            </a:lvl3pPr>
            <a:lvl4pPr>
              <a:defRPr>
                <a:solidFill>
                  <a:srgbClr val="595454"/>
                </a:solidFill>
              </a:defRPr>
            </a:lvl4pPr>
            <a:lvl5pPr>
              <a:defRPr>
                <a:solidFill>
                  <a:srgbClr val="5954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189944"/>
            <a:ext cx="6096000" cy="315468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4368DD5-6CE0-7040-855A-C47BE4E87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E01B273-52B4-644E-BE1E-C9FF3D5670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142041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24134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D4C165-1F18-551B-B7F4-F84C5E7312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9187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D4C165-1F18-551B-B7F4-F84C5E731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3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  <a:lvl2pPr>
              <a:defRPr>
                <a:solidFill>
                  <a:srgbClr val="595454"/>
                </a:solidFill>
              </a:defRPr>
            </a:lvl2pPr>
            <a:lvl3pPr>
              <a:defRPr>
                <a:solidFill>
                  <a:srgbClr val="595454"/>
                </a:solidFill>
              </a:defRPr>
            </a:lvl3pPr>
            <a:lvl4pPr>
              <a:defRPr>
                <a:solidFill>
                  <a:srgbClr val="595454"/>
                </a:solidFill>
              </a:defRPr>
            </a:lvl4pPr>
            <a:lvl5pPr>
              <a:defRPr>
                <a:solidFill>
                  <a:srgbClr val="5954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187761"/>
            <a:ext cx="3017520" cy="315468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68384" y="3187761"/>
            <a:ext cx="3023616" cy="315468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FFBA7831-CE4A-8B47-A09C-42F50E4A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0257BD-52E0-124F-9942-D31D6B19CA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142041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8004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142041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68384" y="3187761"/>
            <a:ext cx="3023616" cy="155448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26BC3F3-33EB-F346-B70E-DE269C681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68384" y="4787961"/>
            <a:ext cx="3023616" cy="155448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E3B3DE9E-1D19-2048-9CF4-DB541F1B0C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ABCF2B5-3D88-BF44-9848-3D528B625E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187761"/>
            <a:ext cx="3017520" cy="315468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0268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3621024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19"/>
            <a:ext cx="3621024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85171" y="1552575"/>
            <a:ext cx="3621024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85488" y="3474719"/>
            <a:ext cx="3621024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05216" y="1552575"/>
            <a:ext cx="3621024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05216" y="3474719"/>
            <a:ext cx="3621024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BF6265C-B078-4449-867E-2F1C1841EA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60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8" userDrawn="1">
          <p15:clr>
            <a:srgbClr val="FBAE40"/>
          </p15:clr>
        </p15:guide>
        <p15:guide id="2" pos="2512" userDrawn="1">
          <p15:clr>
            <a:srgbClr val="FBAE40"/>
          </p15:clr>
        </p15:guide>
        <p15:guide id="5" pos="4982" userDrawn="1">
          <p15:clr>
            <a:srgbClr val="FBAE40"/>
          </p15:clr>
        </p15:guide>
        <p15:guide id="6" pos="5168" userDrawn="1">
          <p15:clr>
            <a:srgbClr val="FBAE40"/>
          </p15:clr>
        </p15:guide>
        <p15:guide id="7" orient="horz" pos="2074">
          <p15:clr>
            <a:srgbClr val="FBAE40"/>
          </p15:clr>
        </p15:guide>
        <p15:guide id="8" orient="horz" pos="218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01999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200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8400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840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D93C7F7-3C80-DA48-9BC2-95DD73DF878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624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A585D99-3BCE-844A-8969-7E2EFD217B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8210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E01205C-D741-174F-BB24-5D5F56542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36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  <p15:guide id="7" orient="horz" pos="2074" userDrawn="1">
          <p15:clr>
            <a:srgbClr val="FBAE40"/>
          </p15:clr>
        </p15:guide>
        <p15:guide id="8" orient="horz" pos="218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3F25E4DD-7BAF-CF43-9AF5-512CC54177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9E62E-3AF4-C24D-8B08-8A7FCB7ED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1AC5C5B-700F-1D4C-9B62-A2B067778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60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CC25F-DFD3-5640-832B-568F0330A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1554481"/>
            <a:ext cx="7540371" cy="256032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B9908D-DB90-9946-B9CC-AB5F9067C5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4343399"/>
            <a:ext cx="7540371" cy="128016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789606C9-4D48-1F4F-A043-8A38AC896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F2E4E41-3F45-E848-9F71-F6F8486B3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chemeClr val="tx2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77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C4C702F-0400-BB49-BFB6-9371AB98DC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96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hank You">
            <a:extLst>
              <a:ext uri="{FF2B5EF4-FFF2-40B4-BE49-F238E27FC236}">
                <a16:creationId xmlns:a16="http://schemas.microsoft.com/office/drawing/2014/main" id="{2DF7BC51-D766-5D44-8D23-2A1F0BF208B3}"/>
              </a:ext>
            </a:extLst>
          </p:cNvPr>
          <p:cNvSpPr txBox="1">
            <a:spLocks/>
          </p:cNvSpPr>
          <p:nvPr userDrawn="1"/>
        </p:nvSpPr>
        <p:spPr>
          <a:xfrm>
            <a:off x="844084" y="1554480"/>
            <a:ext cx="7064841" cy="182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595454"/>
                </a:solidFill>
              </a:rPr>
              <a:t>Thank you</a:t>
            </a:r>
          </a:p>
        </p:txBody>
      </p:sp>
      <p:sp>
        <p:nvSpPr>
          <p:cNvPr id="65" name="Slide Number Placeholder 3">
            <a:extLst>
              <a:ext uri="{FF2B5EF4-FFF2-40B4-BE49-F238E27FC236}">
                <a16:creationId xmlns:a16="http://schemas.microsoft.com/office/drawing/2014/main" id="{0E6E0F27-4DFF-E94E-9464-12770D9EB5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" name="Line">
            <a:extLst>
              <a:ext uri="{FF2B5EF4-FFF2-40B4-BE49-F238E27FC236}">
                <a16:creationId xmlns:a16="http://schemas.microsoft.com/office/drawing/2014/main" id="{8664967B-F28A-2B61-86F5-79F90FD03A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25400" cap="rnd">
            <a:solidFill>
              <a:srgbClr val="5954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1E8D469-5888-DC0E-21D9-F3FF8F160F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757" y="6446520"/>
            <a:ext cx="1584357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17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hi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DF5C4D3-C5D6-1C42-9EC6-C8BA2A34AF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215" y="0"/>
            <a:ext cx="3986785" cy="6857999"/>
          </a:xfrm>
          <a:noFill/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161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  <p15:guide id="2" pos="51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365760"/>
            <a:ext cx="5428488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5428489" cy="256032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48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297680"/>
            <a:ext cx="5428488" cy="36576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0" indent="0" algn="l">
              <a:spcBef>
                <a:spcPts val="0"/>
              </a:spcBef>
              <a:buNone/>
              <a:defRPr sz="1600"/>
            </a:lvl2pPr>
            <a:lvl3pPr marL="0" indent="0" algn="l">
              <a:spcBef>
                <a:spcPts val="0"/>
              </a:spcBef>
              <a:buNone/>
              <a:defRPr sz="1600"/>
            </a:lvl3pPr>
            <a:lvl4pPr marL="0" indent="0" algn="l">
              <a:spcBef>
                <a:spcPts val="0"/>
              </a:spcBef>
              <a:buNone/>
              <a:defRPr sz="1600"/>
            </a:lvl4pPr>
            <a:lvl5pPr marL="0" indent="0" algn="l">
              <a:spcBef>
                <a:spcPts val="0"/>
              </a:spcBef>
              <a:buNone/>
              <a:defRPr sz="1600"/>
            </a:lvl5pPr>
            <a:lvl6pPr marL="0" indent="0" algn="l">
              <a:spcBef>
                <a:spcPts val="0"/>
              </a:spcBef>
              <a:buNone/>
              <a:defRPr sz="1600"/>
            </a:lvl6pPr>
            <a:lvl7pPr marL="0" indent="0" algn="l">
              <a:spcBef>
                <a:spcPts val="0"/>
              </a:spcBef>
              <a:buNone/>
              <a:defRPr sz="1600"/>
            </a:lvl7pPr>
            <a:lvl8pPr marL="0" indent="0" algn="l">
              <a:spcBef>
                <a:spcPts val="0"/>
              </a:spcBef>
              <a:buNone/>
              <a:defRPr sz="1600"/>
            </a:lvl8pPr>
            <a:lvl9pPr marL="0" indent="0" algn="l">
              <a:spcBef>
                <a:spcPts val="0"/>
              </a:spcBef>
              <a:buNone/>
              <a:defRPr sz="16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8" y="4800600"/>
            <a:ext cx="5428488" cy="5943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/>
            </a:lvl1pPr>
            <a:lvl2pPr marL="0" indent="0">
              <a:spcBef>
                <a:spcPts val="0"/>
              </a:spcBef>
              <a:buNone/>
              <a:defRPr sz="1600" b="0"/>
            </a:lvl2pPr>
            <a:lvl3pPr marL="0" indent="0">
              <a:spcBef>
                <a:spcPts val="0"/>
              </a:spcBef>
              <a:buNone/>
              <a:defRPr sz="1600" b="0"/>
            </a:lvl3pPr>
            <a:lvl4pPr marL="0" indent="0">
              <a:spcBef>
                <a:spcPts val="0"/>
              </a:spcBef>
              <a:buNone/>
              <a:defRPr sz="1600" b="0"/>
            </a:lvl4pPr>
            <a:lvl5pPr marL="0" indent="0">
              <a:spcBef>
                <a:spcPts val="0"/>
              </a:spcBef>
              <a:buNone/>
              <a:defRPr sz="1600" b="0"/>
            </a:lvl5pPr>
            <a:lvl6pPr marL="0" indent="0">
              <a:spcBef>
                <a:spcPts val="0"/>
              </a:spcBef>
              <a:buNone/>
              <a:defRPr sz="1600" b="0"/>
            </a:lvl6pPr>
            <a:lvl7pPr marL="0" indent="0">
              <a:spcBef>
                <a:spcPts val="0"/>
              </a:spcBef>
              <a:buNone/>
              <a:defRPr sz="1600" b="0"/>
            </a:lvl7pPr>
            <a:lvl8pPr marL="0" indent="0">
              <a:spcBef>
                <a:spcPts val="0"/>
              </a:spcBef>
              <a:buNone/>
              <a:defRPr sz="1600" b="0"/>
            </a:lvl8pPr>
            <a:lvl9pPr marL="0" indent="0">
              <a:spcBef>
                <a:spcPts val="0"/>
              </a:spcBef>
              <a:buNone/>
              <a:defRPr sz="1600"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DF5C4D3-C5D6-1C42-9EC6-C8BA2A34AF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7999"/>
          </a:xfrm>
          <a:noFill/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744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D0E3932-110F-D547-9271-DA8D789AA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13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1FEC3-E204-2E43-A02A-E713210E3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124"/>
            <a:ext cx="11460480" cy="90525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D348C6-9C3B-A446-A3D7-6426A3B1B7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11460480" cy="46224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6BF2920-C537-9545-8986-82B42C1978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78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34B91-4729-164E-9C1C-B2BE57722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64669C-C8AD-5E45-9EA2-3442DE643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5654040" cy="46224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23967C-4251-8C4F-880E-BACAC9DB1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54480"/>
            <a:ext cx="5654040" cy="46224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F75E3A6-289D-ED44-86FF-B56F54534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95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 userDrawn="1">
          <p15:clr>
            <a:srgbClr val="FBAE40"/>
          </p15:clr>
        </p15:guide>
        <p15:guide id="2" pos="393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1E378-C51F-1F44-A937-4D1DEE92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414" y="365125"/>
            <a:ext cx="11460825" cy="9052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CBBFAC-1290-C849-8645-2BC1B7047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616" y="1554481"/>
            <a:ext cx="5638959" cy="420488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3741DD-8893-F547-91B1-951F40B81C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8616" y="1974969"/>
            <a:ext cx="5638959" cy="42019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982CA7-3B6D-2949-9A42-BDDC85FBE9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554481"/>
            <a:ext cx="5638959" cy="420488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0BA4CC-9A23-2341-9831-DBB5142EAB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1974969"/>
            <a:ext cx="5638959" cy="42019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96744370-6A60-8845-87EA-0C36A11176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7676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9DD051-0776-C3C2-DA08-2BAAA0AD8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899293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7772400" imgH="10058400" progId="TCLayout.ActiveDocument.1">
                  <p:embed/>
                </p:oleObj>
              </mc:Choice>
              <mc:Fallback>
                <p:oleObj name="think-cell Slide" r:id="rId3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9DD051-0776-C3C2-DA08-2BAAA0AD8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2AE9F1-2FF7-0C46-90A1-8590F9294F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554480"/>
            <a:ext cx="11460480" cy="457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CE04BC24-1E9D-064D-B971-4A6BE370D47E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BADDD3-2F02-3249-9533-6DB0A611D1A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5760" y="365124"/>
            <a:ext cx="11460480" cy="90525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E47E4E2C-262A-7021-8019-463E32A83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25400" cap="rnd">
            <a:solidFill>
              <a:srgbClr val="5954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FFEAB8-83AE-4177-B3A1-E2474E39B969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365757" y="6446520"/>
            <a:ext cx="1584357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98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26" r:id="rId2"/>
    <p:sldLayoutId id="2147483728" r:id="rId3"/>
    <p:sldLayoutId id="2147483711" r:id="rId4"/>
    <p:sldLayoutId id="2147483724" r:id="rId5"/>
    <p:sldLayoutId id="2147483700" r:id="rId6"/>
    <p:sldLayoutId id="2147483727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8" r:id="rId13"/>
    <p:sldLayoutId id="2147483735" r:id="rId14"/>
    <p:sldLayoutId id="2147483736" r:id="rId15"/>
    <p:sldLayoutId id="2147483650" r:id="rId16"/>
    <p:sldLayoutId id="2147483652" r:id="rId17"/>
    <p:sldLayoutId id="2147483660" r:id="rId18"/>
    <p:sldLayoutId id="2147483694" r:id="rId19"/>
    <p:sldLayoutId id="2147483710" r:id="rId20"/>
    <p:sldLayoutId id="2147483713" r:id="rId21"/>
    <p:sldLayoutId id="2147483715" r:id="rId22"/>
    <p:sldLayoutId id="2147483690" r:id="rId23"/>
    <p:sldLayoutId id="2147483691" r:id="rId24"/>
    <p:sldLayoutId id="2147483692" r:id="rId25"/>
    <p:sldLayoutId id="2147483693" r:id="rId26"/>
    <p:sldLayoutId id="2147483714" r:id="rId27"/>
    <p:sldLayoutId id="2147483698" r:id="rId28"/>
    <p:sldLayoutId id="2147483695" r:id="rId29"/>
    <p:sldLayoutId id="2147483654" r:id="rId30"/>
    <p:sldLayoutId id="2147483697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595454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595454"/>
        </a:buClr>
        <a:buFont typeface="Arial" panose="020B0604020202020204" pitchFamily="34" charset="0"/>
        <a:buChar char="•"/>
        <a:defRPr sz="2400" kern="1200">
          <a:solidFill>
            <a:srgbClr val="595454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95454"/>
        </a:buClr>
        <a:buFont typeface="Wingdings" pitchFamily="2" charset="2"/>
        <a:buChar char="§"/>
        <a:defRPr sz="2000" kern="1200">
          <a:solidFill>
            <a:srgbClr val="59545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000" kern="1200">
          <a:solidFill>
            <a:srgbClr val="595454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95454"/>
        </a:buClr>
        <a:buFont typeface="Wingdings" pitchFamily="2" charset="2"/>
        <a:buChar char="§"/>
        <a:defRPr sz="1800" kern="1200">
          <a:solidFill>
            <a:srgbClr val="59545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95454"/>
        </a:buClr>
        <a:buFont typeface="Wingdings" pitchFamily="2" charset="2"/>
        <a:buChar char="§"/>
        <a:defRPr sz="1800" kern="1200">
          <a:solidFill>
            <a:srgbClr val="59545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0" userDrawn="1">
          <p15:clr>
            <a:srgbClr val="F26B43"/>
          </p15:clr>
        </p15:guide>
        <p15:guide id="2" pos="230" userDrawn="1">
          <p15:clr>
            <a:srgbClr val="F26B43"/>
          </p15:clr>
        </p15:guide>
        <p15:guide id="3" pos="7450" userDrawn="1">
          <p15:clr>
            <a:srgbClr val="F26B43"/>
          </p15:clr>
        </p15:guide>
        <p15:guide id="4" orient="horz" pos="978" userDrawn="1">
          <p15:clr>
            <a:srgbClr val="F26B43"/>
          </p15:clr>
        </p15:guide>
        <p15:guide id="5" orient="horz" pos="38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36.png"/><Relationship Id="rId5" Type="http://schemas.openxmlformats.org/officeDocument/2006/relationships/hyperlink" Target="https://github.com/aimlgpu/CSCA5622-Final-BankChurn" TargetMode="External"/><Relationship Id="rId4" Type="http://schemas.openxmlformats.org/officeDocument/2006/relationships/image" Target="../media/image3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hyperlink" Target="https://www.kaggle.com/datasets/shubhammeshram579/bank-customer-churn-prediction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12.svg"/><Relationship Id="rId4" Type="http://schemas.openxmlformats.org/officeDocument/2006/relationships/image" Target="../media/image23.emf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4D3FD60-86E4-8E14-3BFE-7A937E6BDF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7558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D3FD60-86E4-8E14-3BFE-7A937E6BD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CE3DD7-7DF1-6B48-93D9-9203C50F5D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CSCA 5622 Introduction to Machine Learning: Supervised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527E04-E675-7A42-A953-F9D9B0A197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0" y="1554480"/>
            <a:ext cx="9179684" cy="256032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Final Project</a:t>
            </a:r>
            <a:br>
              <a:rPr lang="en-US" dirty="0"/>
            </a:br>
            <a:r>
              <a:rPr lang="en-US" dirty="0"/>
              <a:t>Bank Customer Churn Prediction Using Supervised Learnin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2D6D355-D8E8-EF4E-80EA-25F4347097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29 </a:t>
            </a:r>
            <a:r>
              <a:rPr lang="en-US" dirty="0"/>
              <a:t>Apr 202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8002FB-863E-A44C-9EE6-05DC570037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olly B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495FE0-E823-E5B7-41EA-18FFD6EC04D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991" t="17600" r="5731" b="21141"/>
          <a:stretch/>
        </p:blipFill>
        <p:spPr>
          <a:xfrm>
            <a:off x="7224138" y="4502667"/>
            <a:ext cx="4602104" cy="1555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0795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7">
        <p:fade/>
      </p:transition>
    </mc:Choice>
    <mc:Fallback>
      <p:transition spd="med" advTm="27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4864932-0C53-B611-FCAA-D789BF564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9276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A63077-8F0B-ED65-1D62-51F178BB6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clusion and Future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444AB3-A1BD-6CE4-237A-4AB017DEC1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393014" cy="46224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ummary</a:t>
            </a:r>
            <a:r>
              <a:rPr lang="en-US" dirty="0"/>
              <a:t>: </a:t>
            </a:r>
          </a:p>
          <a:p>
            <a:pPr marL="457200" lvl="1"/>
            <a:r>
              <a:rPr lang="en-US" b="1" i="1" dirty="0" err="1">
                <a:solidFill>
                  <a:srgbClr val="C00000"/>
                </a:solidFill>
              </a:rPr>
              <a:t>CatBoost</a:t>
            </a:r>
            <a:r>
              <a:rPr lang="en-US" b="1" i="1" dirty="0">
                <a:solidFill>
                  <a:srgbClr val="C00000"/>
                </a:solidFill>
              </a:rPr>
              <a:t> (ROC-AUC 0.87) </a:t>
            </a:r>
            <a:r>
              <a:rPr lang="en-US" dirty="0"/>
              <a:t>excels in predicting churn, with actionable insights via SHAP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Business Impact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Enables banks to save $10M–$500M </a:t>
            </a:r>
            <a:br>
              <a:rPr lang="en-US" dirty="0"/>
            </a:br>
            <a:r>
              <a:rPr lang="en-US" dirty="0"/>
              <a:t>annually through targeted retentio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Future Work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Incorporate transaction data </a:t>
            </a:r>
            <a:br>
              <a:rPr lang="en-US" dirty="0"/>
            </a:br>
            <a:r>
              <a:rPr lang="en-US" dirty="0"/>
              <a:t>with LSTM models</a:t>
            </a:r>
          </a:p>
          <a:p>
            <a:pPr marL="457200" lvl="1"/>
            <a:r>
              <a:rPr lang="en-US" dirty="0"/>
              <a:t>Deploy </a:t>
            </a:r>
            <a:r>
              <a:rPr lang="en-US" dirty="0" err="1"/>
              <a:t>CatBoost</a:t>
            </a:r>
            <a:r>
              <a:rPr lang="en-US" dirty="0"/>
              <a:t> via Flask API </a:t>
            </a:r>
            <a:br>
              <a:rPr lang="en-US" dirty="0"/>
            </a:br>
            <a:r>
              <a:rPr lang="en-US" dirty="0"/>
              <a:t>for real-time predic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A3FB5-64AD-91E3-C661-9A9795F5B3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AB4D5B-741A-D826-B7E6-732381D730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9739" y="1694558"/>
            <a:ext cx="5356501" cy="4343400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08F7F3B-584B-FF01-FBC5-720438B37DA8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76692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0A615F-ED98-2DF6-BF44-BAB14845D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69390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6B47DD-E4C1-8F7E-3ACD-EBE6FBF3E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itHub Reposi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3BD77A-9CB6-3235-63DB-73A7C676A4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5"/>
              </a:rPr>
              <a:t>Link to GitHub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117D0C-FC08-EF91-0330-02E6F7EE5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ABCFE5-B83A-140B-1B86-8471D0A2FA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3840" y="1679732"/>
            <a:ext cx="7772400" cy="437197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E2ECA26-EF0B-F9DB-860D-87486040EE51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233725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0D073D-2C68-3645-B19C-B3DF0B682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49B1-66A7-3AAF-7E6E-166D0AC1A5AA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033066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E07B2A0-A517-C5D5-CA7D-D4DB83F4F5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3756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B25A8A0-D216-0226-5342-D85E5B03E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ject Overview</a:t>
            </a:r>
            <a:br>
              <a:rPr lang="en-US" dirty="0"/>
            </a:b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13CA6-7B01-F0C3-FAB3-782C3EBE72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What</a:t>
            </a:r>
          </a:p>
          <a:p>
            <a:pPr marL="457200" lvl="1"/>
            <a:r>
              <a:rPr lang="en-US" dirty="0"/>
              <a:t>Predict whether a bank customer will churn (close their account)—a binary classification problem</a:t>
            </a:r>
          </a:p>
          <a:p>
            <a:r>
              <a:rPr lang="en-US" b="1" dirty="0"/>
              <a:t>Why</a:t>
            </a:r>
          </a:p>
          <a:p>
            <a:pPr marL="457200" lvl="1"/>
            <a:r>
              <a:rPr lang="en-US" dirty="0"/>
              <a:t>Churn costs banks millions annually</a:t>
            </a:r>
            <a:br>
              <a:rPr lang="en-US" dirty="0"/>
            </a:br>
            <a:r>
              <a:rPr lang="en-US" dirty="0"/>
              <a:t>Retaining high-value clients can save $10M–$500M by 2025 (estimated)</a:t>
            </a:r>
          </a:p>
          <a:p>
            <a:r>
              <a:rPr lang="en-US" b="1" dirty="0"/>
              <a:t>Dataset</a:t>
            </a:r>
            <a:endParaRPr lang="en-US" dirty="0"/>
          </a:p>
          <a:p>
            <a:pPr marL="457200" lvl="1"/>
            <a:r>
              <a:rPr lang="en-US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 Bank Customer Churn Prediction</a:t>
            </a:r>
            <a:r>
              <a:rPr lang="en-US" dirty="0"/>
              <a:t> dataset</a:t>
            </a:r>
          </a:p>
          <a:p>
            <a:pPr marL="457200" lvl="1"/>
            <a:r>
              <a:rPr lang="en-US" dirty="0"/>
              <a:t>10,002 samples</a:t>
            </a:r>
          </a:p>
          <a:p>
            <a:pPr marL="457200" lvl="1"/>
            <a:r>
              <a:rPr lang="en-US" dirty="0"/>
              <a:t>10 features (8 numeric, 2 categorical)</a:t>
            </a:r>
          </a:p>
          <a:p>
            <a:r>
              <a:rPr lang="en-US" b="1" dirty="0"/>
              <a:t>Challenge</a:t>
            </a:r>
          </a:p>
          <a:p>
            <a:pPr marL="457200" lvl="1"/>
            <a:r>
              <a:rPr lang="en-US" dirty="0"/>
              <a:t>Class imbalance (~20% churn), missing values (e.g., Geography: 1)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631624-201F-2589-B8B7-583BDD86F9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B40E8B7-29FC-56BE-43BF-4B1134CC2DB3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75660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9683E5-FDD6-43C0-252C-AE3B098456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813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7E5C8-9A38-F9B3-0542-34BD0B489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: 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81A7ED-5829-DF71-E72A-DF6C4C8A501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teps</a:t>
            </a:r>
            <a:endParaRPr lang="en-US" dirty="0"/>
          </a:p>
          <a:p>
            <a:pPr marL="457200" lvl="1"/>
            <a:r>
              <a:rPr lang="en-US" dirty="0"/>
              <a:t>Handle missing values: Impute Geography </a:t>
            </a:r>
            <a:br>
              <a:rPr lang="en-US" dirty="0"/>
            </a:br>
            <a:r>
              <a:rPr lang="en-US" dirty="0"/>
              <a:t>with ‘missing’, numeric features with median</a:t>
            </a:r>
          </a:p>
          <a:p>
            <a:pPr marL="457200" lvl="1"/>
            <a:r>
              <a:rPr lang="en-US" dirty="0"/>
              <a:t>Address imbalance: Apply SMOTE to balance training data (50/50)</a:t>
            </a:r>
          </a:p>
          <a:p>
            <a:pPr marL="457200" lvl="1"/>
            <a:r>
              <a:rPr lang="en-US" dirty="0"/>
              <a:t>Encode categorical features </a:t>
            </a:r>
            <a:br>
              <a:rPr lang="en-US" dirty="0"/>
            </a:br>
            <a:r>
              <a:rPr lang="en-US" dirty="0"/>
              <a:t>(Geography, Gender) with one-hot encoding</a:t>
            </a:r>
          </a:p>
          <a:p>
            <a:pPr marL="457200" lvl="1"/>
            <a:r>
              <a:rPr lang="en-US" dirty="0"/>
              <a:t>Scale numeric features using </a:t>
            </a:r>
            <a:r>
              <a:rPr lang="en-US" dirty="0" err="1"/>
              <a:t>StandardScaler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or model compatibility</a:t>
            </a:r>
          </a:p>
          <a:p>
            <a:r>
              <a:rPr lang="en-US" b="1" dirty="0"/>
              <a:t>Outcome</a:t>
            </a:r>
            <a:endParaRPr lang="en-US" dirty="0"/>
          </a:p>
          <a:p>
            <a:pPr marL="457200" lvl="1"/>
            <a:r>
              <a:rPr lang="en-US" dirty="0"/>
              <a:t>Prepared data for modeling with </a:t>
            </a:r>
            <a:br>
              <a:rPr lang="en-US" dirty="0"/>
            </a:br>
            <a:r>
              <a:rPr lang="en-US" dirty="0"/>
              <a:t>balanced classes and normalized 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1DDC06-8ECE-0B69-AEFB-FECE0BDA40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3" name="Content Placeholder 12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AAA09C01-186B-EF56-BF06-D5CE86A34C9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6172200" y="2098477"/>
            <a:ext cx="5654675" cy="3534171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C29B998-7893-ABB0-6B2F-2D9F7B3AEE0D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057780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D74E9C9-E66A-93C2-4C1D-0BE168563C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4424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0BC512-88D4-7393-A9CA-EFEFA5624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Numeric Distribu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173503-3441-DD79-A2CC-872BCCB572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561663" cy="4622483"/>
          </a:xfrm>
        </p:spPr>
        <p:txBody>
          <a:bodyPr/>
          <a:lstStyle/>
          <a:p>
            <a:r>
              <a:rPr lang="en-US" dirty="0"/>
              <a:t>Age is skewed right</a:t>
            </a:r>
          </a:p>
          <a:p>
            <a:pPr marL="457200" lvl="1"/>
            <a:r>
              <a:rPr lang="en-US" dirty="0"/>
              <a:t>suggesting a potential </a:t>
            </a:r>
            <a:br>
              <a:rPr lang="en-US" dirty="0"/>
            </a:br>
            <a:r>
              <a:rPr lang="en-US" dirty="0"/>
              <a:t>log-transformation to normalize it for modeling</a:t>
            </a:r>
          </a:p>
          <a:p>
            <a:pPr marL="457200" lvl="1"/>
            <a:endParaRPr lang="en-US" dirty="0"/>
          </a:p>
          <a:p>
            <a:r>
              <a:rPr lang="en-US" dirty="0"/>
              <a:t>Balance is bimodal</a:t>
            </a:r>
          </a:p>
          <a:p>
            <a:pPr marL="457200" lvl="1"/>
            <a:r>
              <a:rPr lang="en-US" dirty="0"/>
              <a:t>large peak at 0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6E3DD5-9ED2-2879-7A7B-5FA48817A01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3D5304-4B42-56DB-05E4-4943BD08F0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E44910-BD7E-991F-E415-4484A07E10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8100" y="1554480"/>
            <a:ext cx="6958140" cy="4622483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F0342E-E71B-6B2A-D201-364F4AD6B0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5514" y="4238083"/>
            <a:ext cx="3073400" cy="172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AC55AA4-BE7C-B312-23F2-EAA8F09097D1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37162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AE579D9-9EB0-9B52-6C90-A06FC8FB0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6866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829496-B26C-248D-52DF-DA1A461D9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rrel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2D63AC-7188-DAEF-ACAD-524A4A0BA1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554480"/>
            <a:ext cx="5495393" cy="4622483"/>
          </a:xfrm>
        </p:spPr>
        <p:txBody>
          <a:bodyPr/>
          <a:lstStyle/>
          <a:p>
            <a:r>
              <a:rPr lang="en-US" dirty="0"/>
              <a:t>Weak positive correlation between </a:t>
            </a:r>
            <a:br>
              <a:rPr lang="en-US" dirty="0"/>
            </a:br>
            <a:r>
              <a:rPr lang="en-US" dirty="0"/>
              <a:t>Age and Exited (0.03)</a:t>
            </a:r>
          </a:p>
          <a:p>
            <a:pPr marL="457200" lvl="1"/>
            <a:r>
              <a:rPr lang="en-US" dirty="0"/>
              <a:t>Age’s predictive power evident from the box plot</a:t>
            </a:r>
          </a:p>
          <a:p>
            <a:r>
              <a:rPr lang="en-US" dirty="0"/>
              <a:t>No strong multicollinearity is observed among numeric features</a:t>
            </a:r>
          </a:p>
          <a:p>
            <a:pPr marL="457200" lvl="1"/>
            <a:r>
              <a:rPr lang="en-US" dirty="0"/>
              <a:t>All can be retained for model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E62DCC-660E-E497-BB10-BCE17801B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6672F7-F48E-2617-4920-ACBCA71200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6069" y="1554479"/>
            <a:ext cx="5420170" cy="4622484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351B21-E8B4-0CC7-80C0-7524337109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0080" y="3776183"/>
            <a:ext cx="3501730" cy="2400780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9E732D6C-C868-C00D-EC31-C6D36D7C902D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69400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240FDA8-6807-B66D-E8BC-6F3789FDB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0772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63136C-E102-DEE2-C483-DC1FABFC5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: Model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70BB51-DDD4-F3EC-D11A-9B98B3D64E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Models</a:t>
            </a:r>
            <a:r>
              <a:rPr lang="en-US" dirty="0"/>
              <a:t>: 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Logistic Regression: Baseline linear model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Random Forest: Non-linear ensemble with hyperparameter tuning (</a:t>
            </a:r>
            <a:r>
              <a:rPr lang="en-US" dirty="0" err="1"/>
              <a:t>GridSearchCV</a:t>
            </a:r>
            <a:r>
              <a:rPr lang="en-US" dirty="0"/>
              <a:t>)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Neural Network: Deep learning with GPU (64/32/1 layers, dropout)</a:t>
            </a:r>
          </a:p>
          <a:p>
            <a:pPr marL="457200" lvl="1">
              <a:lnSpc>
                <a:spcPct val="100000"/>
              </a:lnSpc>
            </a:pPr>
            <a:r>
              <a:rPr lang="en-US" dirty="0" err="1"/>
              <a:t>CatBoost</a:t>
            </a:r>
            <a:r>
              <a:rPr lang="en-US" dirty="0"/>
              <a:t>: Gradient boosting with GPU, optimized for categorical data, SHAP for interpretabil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Techniques</a:t>
            </a:r>
            <a:r>
              <a:rPr lang="en-US" dirty="0"/>
              <a:t>: 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SMOTE for imbalance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GPU acceleration for Neural Network and </a:t>
            </a:r>
            <a:r>
              <a:rPr lang="en-US" dirty="0" err="1"/>
              <a:t>CatBoost</a:t>
            </a:r>
            <a:endParaRPr lang="en-US" dirty="0"/>
          </a:p>
          <a:p>
            <a:pPr marL="457200" lvl="1">
              <a:lnSpc>
                <a:spcPct val="100000"/>
              </a:lnSpc>
            </a:pPr>
            <a:r>
              <a:rPr lang="en-US" dirty="0"/>
              <a:t>Dropout to reduce overfitting in Neural Net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D0AFD-AB38-2769-6FC5-2DEA038F4B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4CA7EF-692C-C288-264B-7137398D10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35527" y="2227635"/>
            <a:ext cx="5790713" cy="3274330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5FA3D6A6-87F9-C26A-4995-E59667E129EA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551488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BBA2A8F-1D70-1600-3DD4-9E411BCC7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6287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D81083-9A0D-36B7-AA99-3CF649FE0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parison: Model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B080DB-49E4-BB78-3090-49B2F5A2E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554880-2401-5A52-87A5-5E9EF711194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7394" r="41639"/>
          <a:stretch/>
        </p:blipFill>
        <p:spPr>
          <a:xfrm>
            <a:off x="906780" y="4200832"/>
            <a:ext cx="4572000" cy="19761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492BE2-9B21-A824-ADAB-114A39A4BF4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3555"/>
          <a:stretch/>
        </p:blipFill>
        <p:spPr>
          <a:xfrm>
            <a:off x="906780" y="1904569"/>
            <a:ext cx="4572000" cy="19461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5ADB734-4F30-48B7-7FA9-A4EC90C9A83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156"/>
          <a:stretch/>
        </p:blipFill>
        <p:spPr>
          <a:xfrm>
            <a:off x="6713220" y="4259789"/>
            <a:ext cx="4572000" cy="19171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39F69C-CBF9-E6EA-FD6E-9D361B907D8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986"/>
          <a:stretch/>
        </p:blipFill>
        <p:spPr>
          <a:xfrm>
            <a:off x="6713220" y="1904569"/>
            <a:ext cx="4572000" cy="195525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8AA22E0-F599-79BF-8BF5-A6E63FBE0938}"/>
              </a:ext>
            </a:extLst>
          </p:cNvPr>
          <p:cNvSpPr txBox="1"/>
          <p:nvPr/>
        </p:nvSpPr>
        <p:spPr>
          <a:xfrm>
            <a:off x="7705765" y="1556426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 err="1">
                <a:solidFill>
                  <a:srgbClr val="C00000"/>
                </a:solidFill>
              </a:rPr>
              <a:t>CatBoos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0BFB33-99E2-5EF1-3409-FA853BFEFD89}"/>
              </a:ext>
            </a:extLst>
          </p:cNvPr>
          <p:cNvSpPr txBox="1"/>
          <p:nvPr/>
        </p:nvSpPr>
        <p:spPr>
          <a:xfrm>
            <a:off x="1788593" y="3859828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>
                <a:solidFill>
                  <a:srgbClr val="FF9300"/>
                </a:solidFill>
              </a:rPr>
              <a:t>Random Fores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BD78576-BF8D-F297-91AC-9099CFA86C30}"/>
              </a:ext>
            </a:extLst>
          </p:cNvPr>
          <p:cNvSpPr txBox="1"/>
          <p:nvPr/>
        </p:nvSpPr>
        <p:spPr>
          <a:xfrm>
            <a:off x="1899325" y="1554480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Logistic Regress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CDF9D-894A-15C7-AC86-3920A97D04A5}"/>
              </a:ext>
            </a:extLst>
          </p:cNvPr>
          <p:cNvSpPr txBox="1"/>
          <p:nvPr/>
        </p:nvSpPr>
        <p:spPr>
          <a:xfrm>
            <a:off x="7705764" y="3885889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Neural Network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DA513B3-A2DA-788D-9AD3-2F704D102837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79203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E32788-A5D9-EF92-FA8F-1D90931703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653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1FBDCB-F40B-1358-1648-2B8956E783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ults: Model Performanc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048693-B82A-996F-77D6-AD0F3800FDE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Performance</a:t>
            </a:r>
            <a:r>
              <a:rPr lang="en-US" dirty="0"/>
              <a:t>: </a:t>
            </a:r>
          </a:p>
          <a:p>
            <a:pPr marL="457200" lvl="1"/>
            <a:r>
              <a:rPr lang="en-US" dirty="0" err="1"/>
              <a:t>CatBoost</a:t>
            </a:r>
            <a:r>
              <a:rPr lang="en-US" dirty="0"/>
              <a:t> </a:t>
            </a:r>
            <a:r>
              <a:rPr lang="en-US" b="1" i="1" dirty="0">
                <a:solidFill>
                  <a:srgbClr val="C00000"/>
                </a:solidFill>
              </a:rPr>
              <a:t>(best model)</a:t>
            </a:r>
            <a:r>
              <a:rPr lang="en-US" dirty="0"/>
              <a:t>: </a:t>
            </a:r>
            <a:br>
              <a:rPr lang="en-US" dirty="0"/>
            </a:br>
            <a:r>
              <a:rPr lang="en-US" dirty="0"/>
              <a:t>ROC-AUC 0.87, Class 1 F1-score 0.62</a:t>
            </a:r>
          </a:p>
          <a:p>
            <a:pPr marL="457200" lvl="1"/>
            <a:r>
              <a:rPr lang="en-US" dirty="0"/>
              <a:t>Random Forest:</a:t>
            </a:r>
            <a:br>
              <a:rPr lang="en-US" dirty="0"/>
            </a:br>
            <a:r>
              <a:rPr lang="en-US" dirty="0"/>
              <a:t>ROC-AUC 0.86, F1-score 0.59</a:t>
            </a:r>
          </a:p>
          <a:p>
            <a:pPr marL="457200" lvl="1"/>
            <a:r>
              <a:rPr lang="en-US" dirty="0"/>
              <a:t>Neural Network:</a:t>
            </a:r>
            <a:br>
              <a:rPr lang="en-US" dirty="0"/>
            </a:br>
            <a:r>
              <a:rPr lang="en-US" dirty="0"/>
              <a:t>ROC-AUC 0.86, F1-score 0.60</a:t>
            </a:r>
          </a:p>
          <a:p>
            <a:pPr marL="457200" lvl="1"/>
            <a:r>
              <a:rPr lang="en-US" dirty="0"/>
              <a:t>Logistic Regression:</a:t>
            </a:r>
            <a:br>
              <a:rPr lang="en-US" dirty="0"/>
            </a:br>
            <a:r>
              <a:rPr lang="en-US" dirty="0"/>
              <a:t>ROC-AUC 0.77, F1-score 0.2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35B17B-68D9-8839-B384-85655650AE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1" name="Content Placeholder 10" descr="A graph of a curve&#10;&#10;AI-generated content may be incorrect.">
            <a:extLst>
              <a:ext uri="{FF2B5EF4-FFF2-40B4-BE49-F238E27FC236}">
                <a16:creationId xmlns:a16="http://schemas.microsoft.com/office/drawing/2014/main" id="{D173C3D9-3601-F113-5002-686A135B98B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rcRect l="4868" t="5471" r="8498"/>
          <a:stretch/>
        </p:blipFill>
        <p:spPr>
          <a:xfrm>
            <a:off x="6927390" y="2836152"/>
            <a:ext cx="4898850" cy="3340811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F8D5C42-74DE-8633-C04C-C56C2FD4B0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760" y="4423586"/>
            <a:ext cx="4775866" cy="1753377"/>
          </a:xfrm>
          <a:prstGeom prst="rect">
            <a:avLst/>
          </a:prstGeom>
          <a:ln>
            <a:solidFill>
              <a:srgbClr val="595454"/>
            </a:solidFill>
          </a:ln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8761F2-9479-DAF6-EDA3-D9BBBFBA3310}"/>
              </a:ext>
            </a:extLst>
          </p:cNvPr>
          <p:cNvSpPr txBox="1">
            <a:spLocks/>
          </p:cNvSpPr>
          <p:nvPr/>
        </p:nvSpPr>
        <p:spPr>
          <a:xfrm>
            <a:off x="6927390" y="1559976"/>
            <a:ext cx="4898850" cy="107379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95454"/>
              </a:buClr>
              <a:buFont typeface="Arial" panose="020B0604020202020204" pitchFamily="34" charset="0"/>
              <a:buChar char="•"/>
              <a:defRPr sz="24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95454"/>
              </a:buClr>
              <a:buFont typeface="Wingdings" pitchFamily="2" charset="2"/>
              <a:buChar char="§"/>
              <a:defRPr sz="20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defRPr sz="20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95454"/>
              </a:buClr>
              <a:buFont typeface="Wingdings" pitchFamily="2" charset="2"/>
              <a:buChar char="§"/>
              <a:defRPr sz="18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95454"/>
              </a:buClr>
              <a:buFont typeface="Wingdings" pitchFamily="2" charset="2"/>
              <a:buChar char="§"/>
              <a:defRPr sz="18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Key Insight</a:t>
            </a:r>
            <a:r>
              <a:rPr lang="en-US" dirty="0"/>
              <a:t>:</a:t>
            </a:r>
          </a:p>
          <a:p>
            <a:pPr marL="457200" lvl="1"/>
            <a:r>
              <a:rPr lang="en-US" dirty="0" err="1"/>
              <a:t>CatBoost</a:t>
            </a:r>
            <a:r>
              <a:rPr lang="en-US" dirty="0"/>
              <a:t> outperforms others</a:t>
            </a:r>
          </a:p>
          <a:p>
            <a:pPr marL="457200" lvl="1"/>
            <a:r>
              <a:rPr lang="en-US" dirty="0"/>
              <a:t>balancing accuracy and interpretability</a:t>
            </a:r>
          </a:p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A47659-5080-2B6A-E1D6-BE756DF4D5F6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7672594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9365648-798C-7BF0-A300-98D8DFED9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30896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0CFBE5-AFF6-121E-767D-717F33C89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sights: Understanding Churn Driv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70AD9-A1D0-8F2D-6263-7740E23DE1A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b="1" dirty="0"/>
              <a:t>Key Predictors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Age</a:t>
            </a:r>
          </a:p>
          <a:p>
            <a:pPr marL="457200" lvl="1"/>
            <a:r>
              <a:rPr lang="en-US" dirty="0" err="1"/>
              <a:t>NumOfProducts</a:t>
            </a:r>
            <a:r>
              <a:rPr lang="en-US" dirty="0"/>
              <a:t> </a:t>
            </a:r>
          </a:p>
          <a:p>
            <a:pPr marL="457200" lvl="1"/>
            <a:r>
              <a:rPr lang="en-US" dirty="0"/>
              <a:t>Tenure</a:t>
            </a:r>
          </a:p>
          <a:p>
            <a:pPr marL="457200" lvl="1"/>
            <a:r>
              <a:rPr lang="en-US" dirty="0"/>
              <a:t>Geography (especially Germany) are top drivers of churn (via SHAP) </a:t>
            </a:r>
          </a:p>
          <a:p>
            <a:r>
              <a:rPr lang="en-US" b="1" dirty="0"/>
              <a:t>Business Insight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Older customers in Germany with fewer products are at higher risk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7DF80-F003-6BA7-BD29-B35AE921B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2" name="Content Placeholder 11" descr="A graph with red and blue lines&#10;&#10;AI-generated content may be incorrect.">
            <a:extLst>
              <a:ext uri="{FF2B5EF4-FFF2-40B4-BE49-F238E27FC236}">
                <a16:creationId xmlns:a16="http://schemas.microsoft.com/office/drawing/2014/main" id="{9E9277F4-CC8F-D5D9-D302-C45244D0591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6172200" y="1641980"/>
            <a:ext cx="5654675" cy="4447166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E141D8B-44AF-ED63-AEB7-EB9894BF96DA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1875" r="2187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96976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">
  <a:themeElements>
    <a:clrScheme name="Souman">
      <a:dk1>
        <a:sysClr val="windowText" lastClr="000000"/>
      </a:dk1>
      <a:lt1>
        <a:srgbClr val="FFFFFF"/>
      </a:lt1>
      <a:dk2>
        <a:srgbClr val="324560"/>
      </a:dk2>
      <a:lt2>
        <a:srgbClr val="FFFFFF"/>
      </a:lt2>
      <a:accent1>
        <a:srgbClr val="40587C"/>
      </a:accent1>
      <a:accent2>
        <a:srgbClr val="51709D"/>
      </a:accent2>
      <a:accent3>
        <a:srgbClr val="7691B8"/>
      </a:accent3>
      <a:accent4>
        <a:srgbClr val="9AADCA"/>
      </a:accent4>
      <a:accent5>
        <a:srgbClr val="A7B8D1"/>
      </a:accent5>
      <a:accent6>
        <a:srgbClr val="D6DEEA"/>
      </a:accent6>
      <a:hlink>
        <a:srgbClr val="6EAC1C"/>
      </a:hlink>
      <a:folHlink>
        <a:srgbClr val="B26B0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A69F9F"/>
      </a:accent1>
      <a:accent2>
        <a:srgbClr val="FFD186"/>
      </a:accent2>
      <a:accent3>
        <a:srgbClr val="33D6F1"/>
      </a:accent3>
      <a:accent4>
        <a:srgbClr val="CB7C78"/>
      </a:accent4>
      <a:accent5>
        <a:srgbClr val="59FFB9"/>
      </a:accent5>
      <a:accent6>
        <a:srgbClr val="FDA97D"/>
      </a:accent6>
      <a:hlink>
        <a:srgbClr val="BE2BBB"/>
      </a:hlink>
      <a:folHlink>
        <a:srgbClr val="BE2BBB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28575" cap="rnd"/>
      </a:spPr>
      <a:bodyPr/>
      <a:lstStyle/>
      <a:style>
        <a:lnRef idx="1">
          <a:srgbClr val="BE2BBB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0000"/>
          </a:lnSpc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1">
      <a:srgbClr val="FFECCD"/>
    </a:custClr>
    <a:custClr name="Peach 1">
      <a:srgbClr val="FEDCCA"/>
    </a:custClr>
    <a:custClr name="Sienna 1">
      <a:srgbClr val="DAC5C5"/>
    </a:custClr>
    <a:custClr name="Mint 1">
      <a:srgbClr val="C5FFE6"/>
    </a:custClr>
    <a:custClr name="Aqua 1">
      <a:srgbClr val="C0F2FB"/>
    </a:custClr>
    <a:custClr name="Olive 1">
      <a:srgbClr val="EAD5C9"/>
    </a:custClr>
    <a:custClr name="Almond 1">
      <a:srgbClr val="DFCBC3"/>
    </a:custClr>
    <a:custClr name="Chocolate 1">
      <a:srgbClr val="D2CAC8"/>
    </a:custClr>
    <a:custClr name="White">
      <a:srgbClr val="FFFFFF"/>
    </a:custClr>
    <a:custClr name="White">
      <a:srgbClr val="FFFFFF"/>
    </a:custClr>
  </a:custClrLst>
</a:theme>
</file>

<file path=ppt/theme/theme3.xml><?xml version="1.0" encoding="utf-8"?>
<a:theme xmlns:a="http://schemas.openxmlformats.org/drawingml/2006/main" name="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A69F9F"/>
      </a:accent1>
      <a:accent2>
        <a:srgbClr val="FFD186"/>
      </a:accent2>
      <a:accent3>
        <a:srgbClr val="33D6F1"/>
      </a:accent3>
      <a:accent4>
        <a:srgbClr val="CB7C78"/>
      </a:accent4>
      <a:accent5>
        <a:srgbClr val="59FFB9"/>
      </a:accent5>
      <a:accent6>
        <a:srgbClr val="FDA97D"/>
      </a:accent6>
      <a:hlink>
        <a:srgbClr val="BE2BBB"/>
      </a:hlink>
      <a:folHlink>
        <a:srgbClr val="BE2BBB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28575" cap="rnd"/>
      </a:spPr>
      <a:bodyPr/>
      <a:lstStyle/>
      <a:style>
        <a:lnRef idx="1">
          <a:srgbClr val="BE2BBB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0000"/>
          </a:lnSpc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1">
      <a:srgbClr val="FFECCD"/>
    </a:custClr>
    <a:custClr name="Peach 1">
      <a:srgbClr val="FEDCCA"/>
    </a:custClr>
    <a:custClr name="Sienna 1">
      <a:srgbClr val="DAC5C5"/>
    </a:custClr>
    <a:custClr name="Mint 1">
      <a:srgbClr val="C5FFE6"/>
    </a:custClr>
    <a:custClr name="Aqua 1">
      <a:srgbClr val="C0F2FB"/>
    </a:custClr>
    <a:custClr name="Olive 1">
      <a:srgbClr val="EAD5C9"/>
    </a:custClr>
    <a:custClr name="Almond 1">
      <a:srgbClr val="DFCBC3"/>
    </a:custClr>
    <a:custClr name="Chocolate 1">
      <a:srgbClr val="D2CAC8"/>
    </a:custClr>
    <a:custClr name="White">
      <a:srgbClr val="FFFFFF"/>
    </a:custClr>
    <a:custClr name="White">
      <a:srgbClr val="FFFFF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s xmlns="93cbd485-8915-4027-8eec-bcb9947115f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C80EB121E71F45BC47B6CB88AEDC92" ma:contentTypeVersion="17" ma:contentTypeDescription="Create a new document." ma:contentTypeScope="" ma:versionID="3026174f094ec90e9936843e47771945">
  <xsd:schema xmlns:xsd="http://www.w3.org/2001/XMLSchema" xmlns:xs="http://www.w3.org/2001/XMLSchema" xmlns:p="http://schemas.microsoft.com/office/2006/metadata/properties" xmlns:ns2="93cbd485-8915-4027-8eec-bcb9947115f4" xmlns:ns3="d9fa2434-6a4e-419f-82b4-0fe6aa233289" targetNamespace="http://schemas.microsoft.com/office/2006/metadata/properties" ma:root="true" ma:fieldsID="795a40a22f58e70a9ddb3b9448368b47" ns2:_="" ns3:_="">
    <xsd:import namespace="93cbd485-8915-4027-8eec-bcb9947115f4"/>
    <xsd:import namespace="d9fa2434-6a4e-419f-82b4-0fe6aa23328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Conte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cbd485-8915-4027-8eec-bcb9947115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ntents" ma:index="17" nillable="true" ma:displayName="Contents" ma:format="Dropdown" ma:internalName="Content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fa2434-6a4e-419f-82b4-0fe6aa233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6E5162-D6F5-4BE6-BD39-97697F6E46E7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93cbd485-8915-4027-8eec-bcb9947115f4"/>
    <ds:schemaRef ds:uri="http://www.w3.org/XML/1998/namespace"/>
    <ds:schemaRef ds:uri="http://schemas.microsoft.com/office/infopath/2007/PartnerControls"/>
    <ds:schemaRef ds:uri="d9fa2434-6a4e-419f-82b4-0fe6aa233289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D6E7F1B-98CE-454F-B86D-5F81160AF3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3cbd485-8915-4027-8eec-bcb9947115f4"/>
    <ds:schemaRef ds:uri="d9fa2434-6a4e-419f-82b4-0fe6aa233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1E541B-C327-43C3-B2CB-95FEF812874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B</Template>
  <TotalTime>765</TotalTime>
  <Words>805</Words>
  <Application>Microsoft Office PowerPoint</Application>
  <PresentationFormat>Widescreen</PresentationFormat>
  <Paragraphs>102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Trebuchet MS</vt:lpstr>
      <vt:lpstr>Wingdings</vt:lpstr>
      <vt:lpstr>SB</vt:lpstr>
      <vt:lpstr>think-cell Slide</vt:lpstr>
      <vt:lpstr>Final Project Bank Customer Churn Prediction Using Supervised Learning</vt:lpstr>
      <vt:lpstr>Project Overview </vt:lpstr>
      <vt:lpstr>Approach: Data Preprocessing</vt:lpstr>
      <vt:lpstr>Data Numeric Distributions</vt:lpstr>
      <vt:lpstr>Correlations</vt:lpstr>
      <vt:lpstr>Approach: Model Development</vt:lpstr>
      <vt:lpstr>Comparison: Model </vt:lpstr>
      <vt:lpstr>Results: Model Performance </vt:lpstr>
      <vt:lpstr>Insights: Understanding Churn Drivers</vt:lpstr>
      <vt:lpstr>Conclusion and Future Work</vt:lpstr>
      <vt:lpstr>GitHub Repositor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Brand timesaver slides</dc:title>
  <dc:subject/>
  <dc:creator>Souman Barua</dc:creator>
  <cp:keywords/>
  <dc:description/>
  <cp:lastModifiedBy>Molly Barikdar</cp:lastModifiedBy>
  <cp:revision>15</cp:revision>
  <cp:lastPrinted>2019-10-06T00:46:52Z</cp:lastPrinted>
  <dcterms:created xsi:type="dcterms:W3CDTF">2022-04-05T16:53:02Z</dcterms:created>
  <dcterms:modified xsi:type="dcterms:W3CDTF">2025-04-29T21:23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C80EB121E71F45BC47B6CB88AEDC92</vt:lpwstr>
  </property>
  <property fmtid="{D5CDD505-2E9C-101B-9397-08002B2CF9AE}" pid="3" name="MSIP_Label_defa4170-0d19-0005-0004-bc88714345d2_Enabled">
    <vt:lpwstr>true</vt:lpwstr>
  </property>
  <property fmtid="{D5CDD505-2E9C-101B-9397-08002B2CF9AE}" pid="4" name="MSIP_Label_defa4170-0d19-0005-0004-bc88714345d2_SetDate">
    <vt:lpwstr>2025-04-28T13:19:33Z</vt:lpwstr>
  </property>
  <property fmtid="{D5CDD505-2E9C-101B-9397-08002B2CF9AE}" pid="5" name="MSIP_Label_defa4170-0d19-0005-0004-bc88714345d2_Method">
    <vt:lpwstr>Standard</vt:lpwstr>
  </property>
  <property fmtid="{D5CDD505-2E9C-101B-9397-08002B2CF9AE}" pid="6" name="MSIP_Label_defa4170-0d19-0005-0004-bc88714345d2_Name">
    <vt:lpwstr>defa4170-0d19-0005-0004-bc88714345d2</vt:lpwstr>
  </property>
  <property fmtid="{D5CDD505-2E9C-101B-9397-08002B2CF9AE}" pid="7" name="MSIP_Label_defa4170-0d19-0005-0004-bc88714345d2_SiteId">
    <vt:lpwstr>9cdd1373-e262-4390-8edc-3653ab4d5ca1</vt:lpwstr>
  </property>
  <property fmtid="{D5CDD505-2E9C-101B-9397-08002B2CF9AE}" pid="8" name="MSIP_Label_defa4170-0d19-0005-0004-bc88714345d2_ActionId">
    <vt:lpwstr>4477b729-7622-4c71-9d3d-9490de52a9b0</vt:lpwstr>
  </property>
  <property fmtid="{D5CDD505-2E9C-101B-9397-08002B2CF9AE}" pid="9" name="MSIP_Label_defa4170-0d19-0005-0004-bc88714345d2_ContentBits">
    <vt:lpwstr>0</vt:lpwstr>
  </property>
  <property fmtid="{D5CDD505-2E9C-101B-9397-08002B2CF9AE}" pid="10" name="MSIP_Label_defa4170-0d19-0005-0004-bc88714345d2_Tag">
    <vt:lpwstr>50, 3, 0, 1</vt:lpwstr>
  </property>
</Properties>
</file>